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153E4-7113-F773-F691-0F00C3C52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4F66A5F-9153-C31B-F15C-B42C9041EB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F66A5F-9153-C31B-F15C-B42C9041EB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E97EF2-5A23-F7E5-328F-48EA2AC4A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32CA51-68AF-9D62-7726-2C2E2F427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B1EC413A-D117-143F-A886-16D346CCA5FB}"/>
              </a:ext>
            </a:extLst>
          </p:cNvPr>
          <p:cNvSpPr>
            <a:spLocks/>
          </p:cNvSpPr>
          <p:nvPr/>
        </p:nvSpPr>
        <p:spPr>
          <a:xfrm>
            <a:off x="4779658" y="1399548"/>
            <a:ext cx="2537409" cy="1546502"/>
          </a:xfrm>
          <a:custGeom>
            <a:avLst/>
            <a:gdLst>
              <a:gd name="connsiteX0" fmla="*/ 1203579 w 2537409"/>
              <a:gd name="connsiteY0" fmla="*/ 0 h 1546502"/>
              <a:gd name="connsiteX1" fmla="*/ 2464109 w 2537409"/>
              <a:gd name="connsiteY1" fmla="*/ 385315 h 1546502"/>
              <a:gd name="connsiteX2" fmla="*/ 2537409 w 2537409"/>
              <a:gd name="connsiteY2" fmla="*/ 440167 h 1546502"/>
              <a:gd name="connsiteX3" fmla="*/ 1773854 w 2537409"/>
              <a:gd name="connsiteY3" fmla="*/ 1546502 h 1546502"/>
              <a:gd name="connsiteX4" fmla="*/ 1714656 w 2537409"/>
              <a:gd name="connsiteY4" fmla="*/ 1497625 h 1546502"/>
              <a:gd name="connsiteX5" fmla="*/ 1203579 w 2537409"/>
              <a:gd name="connsiteY5" fmla="*/ 1341400 h 1546502"/>
              <a:gd name="connsiteX6" fmla="*/ 767869 w 2537409"/>
              <a:gd name="connsiteY6" fmla="*/ 1451805 h 1546502"/>
              <a:gd name="connsiteX7" fmla="*/ 723205 w 2537409"/>
              <a:gd name="connsiteY7" fmla="*/ 1478959 h 1546502"/>
              <a:gd name="connsiteX8" fmla="*/ 0 w 2537409"/>
              <a:gd name="connsiteY8" fmla="*/ 350692 h 1546502"/>
              <a:gd name="connsiteX9" fmla="*/ 128936 w 2537409"/>
              <a:gd name="connsiteY9" fmla="*/ 272305 h 1546502"/>
              <a:gd name="connsiteX10" fmla="*/ 1203579 w 2537409"/>
              <a:gd name="connsiteY10" fmla="*/ 0 h 1546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7409" h="1546502">
                <a:moveTo>
                  <a:pt x="1203579" y="0"/>
                </a:moveTo>
                <a:cubicBezTo>
                  <a:pt x="1670508" y="0"/>
                  <a:pt x="2104283" y="142047"/>
                  <a:pt x="2464109" y="385315"/>
                </a:cubicBezTo>
                <a:lnTo>
                  <a:pt x="2537409" y="440167"/>
                </a:lnTo>
                <a:lnTo>
                  <a:pt x="1773854" y="1546502"/>
                </a:lnTo>
                <a:lnTo>
                  <a:pt x="1714656" y="1497625"/>
                </a:lnTo>
                <a:cubicBezTo>
                  <a:pt x="1568767" y="1398993"/>
                  <a:pt x="1392894" y="1341400"/>
                  <a:pt x="1203579" y="1341400"/>
                </a:cubicBezTo>
                <a:cubicBezTo>
                  <a:pt x="1045817" y="1341400"/>
                  <a:pt x="897389" y="1381395"/>
                  <a:pt x="767869" y="1451805"/>
                </a:cubicBezTo>
                <a:lnTo>
                  <a:pt x="723205" y="1478959"/>
                </a:lnTo>
                <a:lnTo>
                  <a:pt x="0" y="350692"/>
                </a:lnTo>
                <a:lnTo>
                  <a:pt x="128936" y="272305"/>
                </a:lnTo>
                <a:cubicBezTo>
                  <a:pt x="448388" y="98644"/>
                  <a:pt x="814472" y="0"/>
                  <a:pt x="1203579" y="0"/>
                </a:cubicBez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8E5CFD6-BCD6-1953-CCA7-468196850401}"/>
              </a:ext>
            </a:extLst>
          </p:cNvPr>
          <p:cNvSpPr>
            <a:spLocks/>
          </p:cNvSpPr>
          <p:nvPr/>
        </p:nvSpPr>
        <p:spPr>
          <a:xfrm>
            <a:off x="3728705" y="1758786"/>
            <a:ext cx="1760100" cy="1942214"/>
          </a:xfrm>
          <a:custGeom>
            <a:avLst/>
            <a:gdLst>
              <a:gd name="connsiteX0" fmla="*/ 1036895 w 1760100"/>
              <a:gd name="connsiteY0" fmla="*/ 0 h 1942214"/>
              <a:gd name="connsiteX1" fmla="*/ 1760100 w 1760100"/>
              <a:gd name="connsiteY1" fmla="*/ 1128267 h 1942214"/>
              <a:gd name="connsiteX2" fmla="*/ 1743454 w 1760100"/>
              <a:gd name="connsiteY2" fmla="*/ 1138387 h 1942214"/>
              <a:gd name="connsiteX3" fmla="*/ 1340439 w 1760100"/>
              <a:gd name="connsiteY3" fmla="*/ 1896910 h 1942214"/>
              <a:gd name="connsiteX4" fmla="*/ 1342725 w 1760100"/>
              <a:gd name="connsiteY4" fmla="*/ 1942214 h 1942214"/>
              <a:gd name="connsiteX5" fmla="*/ 2286 w 1760100"/>
              <a:gd name="connsiteY5" fmla="*/ 1942214 h 1942214"/>
              <a:gd name="connsiteX6" fmla="*/ 0 w 1760100"/>
              <a:gd name="connsiteY6" fmla="*/ 1896910 h 1942214"/>
              <a:gd name="connsiteX7" fmla="*/ 994001 w 1760100"/>
              <a:gd name="connsiteY7" fmla="*/ 26077 h 1942214"/>
              <a:gd name="connsiteX8" fmla="*/ 1036895 w 1760100"/>
              <a:gd name="connsiteY8" fmla="*/ 0 h 1942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0100" h="1942214">
                <a:moveTo>
                  <a:pt x="1036895" y="0"/>
                </a:moveTo>
                <a:lnTo>
                  <a:pt x="1760100" y="1128267"/>
                </a:lnTo>
                <a:lnTo>
                  <a:pt x="1743454" y="1138387"/>
                </a:lnTo>
                <a:cubicBezTo>
                  <a:pt x="1500304" y="1302774"/>
                  <a:pt x="1340439" y="1581160"/>
                  <a:pt x="1340439" y="1896910"/>
                </a:cubicBezTo>
                <a:lnTo>
                  <a:pt x="1342725" y="1942214"/>
                </a:lnTo>
                <a:lnTo>
                  <a:pt x="2286" y="1942214"/>
                </a:lnTo>
                <a:lnTo>
                  <a:pt x="0" y="1896910"/>
                </a:lnTo>
                <a:cubicBezTo>
                  <a:pt x="0" y="1118138"/>
                  <a:pt x="394292" y="431523"/>
                  <a:pt x="994001" y="26077"/>
                </a:cubicBezTo>
                <a:lnTo>
                  <a:pt x="1036895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95CC95D-603E-9E8B-ED17-777B629B9274}"/>
              </a:ext>
            </a:extLst>
          </p:cNvPr>
          <p:cNvSpPr>
            <a:spLocks/>
          </p:cNvSpPr>
          <p:nvPr/>
        </p:nvSpPr>
        <p:spPr>
          <a:xfrm>
            <a:off x="6489221" y="1849577"/>
            <a:ext cx="1748547" cy="3696007"/>
          </a:xfrm>
          <a:custGeom>
            <a:avLst/>
            <a:gdLst>
              <a:gd name="connsiteX0" fmla="*/ 841024 w 1748547"/>
              <a:gd name="connsiteY0" fmla="*/ 0 h 3696007"/>
              <a:gd name="connsiteX1" fmla="*/ 928107 w 1748547"/>
              <a:gd name="connsiteY1" fmla="*/ 65167 h 3696007"/>
              <a:gd name="connsiteX2" fmla="*/ 1748547 w 1748547"/>
              <a:gd name="connsiteY2" fmla="*/ 1806120 h 3696007"/>
              <a:gd name="connsiteX3" fmla="*/ 754546 w 1748547"/>
              <a:gd name="connsiteY3" fmla="*/ 3676953 h 3696007"/>
              <a:gd name="connsiteX4" fmla="*/ 723205 w 1748547"/>
              <a:gd name="connsiteY4" fmla="*/ 3696007 h 3696007"/>
              <a:gd name="connsiteX5" fmla="*/ 0 w 1748547"/>
              <a:gd name="connsiteY5" fmla="*/ 2567740 h 3696007"/>
              <a:gd name="connsiteX6" fmla="*/ 5093 w 1748547"/>
              <a:gd name="connsiteY6" fmla="*/ 2564643 h 3696007"/>
              <a:gd name="connsiteX7" fmla="*/ 408108 w 1748547"/>
              <a:gd name="connsiteY7" fmla="*/ 1806120 h 3696007"/>
              <a:gd name="connsiteX8" fmla="*/ 140377 w 1748547"/>
              <a:gd name="connsiteY8" fmla="*/ 1159296 h 3696007"/>
              <a:gd name="connsiteX9" fmla="*/ 77020 w 1748547"/>
              <a:gd name="connsiteY9" fmla="*/ 1106984 h 3696007"/>
              <a:gd name="connsiteX10" fmla="*/ 841024 w 1748547"/>
              <a:gd name="connsiteY10" fmla="*/ 0 h 36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48547" h="3696007">
                <a:moveTo>
                  <a:pt x="841024" y="0"/>
                </a:moveTo>
                <a:lnTo>
                  <a:pt x="928107" y="65167"/>
                </a:lnTo>
                <a:cubicBezTo>
                  <a:pt x="1429171" y="478977"/>
                  <a:pt x="1748547" y="1105225"/>
                  <a:pt x="1748547" y="1806120"/>
                </a:cubicBezTo>
                <a:cubicBezTo>
                  <a:pt x="1748547" y="2584893"/>
                  <a:pt x="1354255" y="3271507"/>
                  <a:pt x="754546" y="3676953"/>
                </a:cubicBezTo>
                <a:lnTo>
                  <a:pt x="723205" y="3696007"/>
                </a:lnTo>
                <a:lnTo>
                  <a:pt x="0" y="2567740"/>
                </a:lnTo>
                <a:lnTo>
                  <a:pt x="5093" y="2564643"/>
                </a:lnTo>
                <a:cubicBezTo>
                  <a:pt x="248244" y="2400257"/>
                  <a:pt x="408108" y="2121871"/>
                  <a:pt x="408108" y="1806120"/>
                </a:cubicBezTo>
                <a:cubicBezTo>
                  <a:pt x="408108" y="1553520"/>
                  <a:pt x="305795" y="1324833"/>
                  <a:pt x="140377" y="1159296"/>
                </a:cubicBezTo>
                <a:lnTo>
                  <a:pt x="77020" y="1106984"/>
                </a:lnTo>
                <a:lnTo>
                  <a:pt x="841024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32A3D6F-F08D-2C6A-7834-18303758E100}"/>
              </a:ext>
            </a:extLst>
          </p:cNvPr>
          <p:cNvSpPr>
            <a:spLocks/>
          </p:cNvSpPr>
          <p:nvPr/>
        </p:nvSpPr>
        <p:spPr>
          <a:xfrm>
            <a:off x="3731822" y="3717447"/>
            <a:ext cx="1788289" cy="1830429"/>
          </a:xfrm>
          <a:custGeom>
            <a:avLst/>
            <a:gdLst>
              <a:gd name="connsiteX0" fmla="*/ 0 w 1788289"/>
              <a:gd name="connsiteY0" fmla="*/ 0 h 1830429"/>
              <a:gd name="connsiteX1" fmla="*/ 1340439 w 1788289"/>
              <a:gd name="connsiteY1" fmla="*/ 0 h 1830429"/>
              <a:gd name="connsiteX2" fmla="*/ 1342042 w 1788289"/>
              <a:gd name="connsiteY2" fmla="*/ 31778 h 1830429"/>
              <a:gd name="connsiteX3" fmla="*/ 1740338 w 1788289"/>
              <a:gd name="connsiteY3" fmla="*/ 696773 h 1830429"/>
              <a:gd name="connsiteX4" fmla="*/ 1788289 w 1788289"/>
              <a:gd name="connsiteY4" fmla="*/ 725925 h 1830429"/>
              <a:gd name="connsiteX5" fmla="*/ 1025997 w 1788289"/>
              <a:gd name="connsiteY5" fmla="*/ 1830429 h 1830429"/>
              <a:gd name="connsiteX6" fmla="*/ 990885 w 1788289"/>
              <a:gd name="connsiteY6" fmla="*/ 1809083 h 1830429"/>
              <a:gd name="connsiteX7" fmla="*/ 8524 w 1788289"/>
              <a:gd name="connsiteY7" fmla="*/ 168928 h 1830429"/>
              <a:gd name="connsiteX8" fmla="*/ 0 w 1788289"/>
              <a:gd name="connsiteY8" fmla="*/ 0 h 183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88289" h="1830429">
                <a:moveTo>
                  <a:pt x="0" y="0"/>
                </a:moveTo>
                <a:lnTo>
                  <a:pt x="1340439" y="0"/>
                </a:lnTo>
                <a:lnTo>
                  <a:pt x="1342042" y="31778"/>
                </a:lnTo>
                <a:cubicBezTo>
                  <a:pt x="1370129" y="308538"/>
                  <a:pt x="1521503" y="548825"/>
                  <a:pt x="1740338" y="696773"/>
                </a:cubicBezTo>
                <a:lnTo>
                  <a:pt x="1788289" y="725925"/>
                </a:lnTo>
                <a:lnTo>
                  <a:pt x="1025997" y="1830429"/>
                </a:lnTo>
                <a:lnTo>
                  <a:pt x="990885" y="1809083"/>
                </a:lnTo>
                <a:cubicBezTo>
                  <a:pt x="451147" y="1444182"/>
                  <a:pt x="77797" y="851534"/>
                  <a:pt x="8524" y="168928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51A204B-5C2D-5CCA-D19C-823306CAFC75}"/>
              </a:ext>
            </a:extLst>
          </p:cNvPr>
          <p:cNvSpPr>
            <a:spLocks/>
          </p:cNvSpPr>
          <p:nvPr/>
        </p:nvSpPr>
        <p:spPr>
          <a:xfrm>
            <a:off x="4771894" y="4425862"/>
            <a:ext cx="2426474" cy="1485982"/>
          </a:xfrm>
          <a:custGeom>
            <a:avLst/>
            <a:gdLst>
              <a:gd name="connsiteX0" fmla="*/ 1703269 w 2426474"/>
              <a:gd name="connsiteY0" fmla="*/ 0 h 1485982"/>
              <a:gd name="connsiteX1" fmla="*/ 2426474 w 2426474"/>
              <a:gd name="connsiteY1" fmla="*/ 1128267 h 1485982"/>
              <a:gd name="connsiteX2" fmla="*/ 2285985 w 2426474"/>
              <a:gd name="connsiteY2" fmla="*/ 1213677 h 1485982"/>
              <a:gd name="connsiteX3" fmla="*/ 1211342 w 2426474"/>
              <a:gd name="connsiteY3" fmla="*/ 1485982 h 1485982"/>
              <a:gd name="connsiteX4" fmla="*/ 136699 w 2426474"/>
              <a:gd name="connsiteY4" fmla="*/ 1213677 h 1485982"/>
              <a:gd name="connsiteX5" fmla="*/ 0 w 2426474"/>
              <a:gd name="connsiteY5" fmla="*/ 1130571 h 1485982"/>
              <a:gd name="connsiteX6" fmla="*/ 762292 w 2426474"/>
              <a:gd name="connsiteY6" fmla="*/ 26067 h 1485982"/>
              <a:gd name="connsiteX7" fmla="*/ 775632 w 2426474"/>
              <a:gd name="connsiteY7" fmla="*/ 34177 h 1485982"/>
              <a:gd name="connsiteX8" fmla="*/ 1211342 w 2426474"/>
              <a:gd name="connsiteY8" fmla="*/ 144582 h 1485982"/>
              <a:gd name="connsiteX9" fmla="*/ 1647052 w 2426474"/>
              <a:gd name="connsiteY9" fmla="*/ 34177 h 1485982"/>
              <a:gd name="connsiteX10" fmla="*/ 1703269 w 2426474"/>
              <a:gd name="connsiteY10" fmla="*/ 0 h 1485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26474" h="1485982">
                <a:moveTo>
                  <a:pt x="1703269" y="0"/>
                </a:moveTo>
                <a:lnTo>
                  <a:pt x="2426474" y="1128267"/>
                </a:lnTo>
                <a:lnTo>
                  <a:pt x="2285985" y="1213677"/>
                </a:lnTo>
                <a:cubicBezTo>
                  <a:pt x="1966534" y="1387338"/>
                  <a:pt x="1600449" y="1485982"/>
                  <a:pt x="1211342" y="1485982"/>
                </a:cubicBezTo>
                <a:cubicBezTo>
                  <a:pt x="822235" y="1485982"/>
                  <a:pt x="456151" y="1387338"/>
                  <a:pt x="136699" y="1213677"/>
                </a:cubicBezTo>
                <a:lnTo>
                  <a:pt x="0" y="1130571"/>
                </a:lnTo>
                <a:lnTo>
                  <a:pt x="762292" y="26067"/>
                </a:lnTo>
                <a:lnTo>
                  <a:pt x="775632" y="34177"/>
                </a:lnTo>
                <a:cubicBezTo>
                  <a:pt x="905152" y="104587"/>
                  <a:pt x="1053580" y="144582"/>
                  <a:pt x="1211342" y="144582"/>
                </a:cubicBezTo>
                <a:cubicBezTo>
                  <a:pt x="1369104" y="144582"/>
                  <a:pt x="1517532" y="104587"/>
                  <a:pt x="1647052" y="34177"/>
                </a:cubicBezTo>
                <a:lnTo>
                  <a:pt x="1703269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941DF7C-3CA3-AD52-D2C1-BA72F7C9EAD0}"/>
              </a:ext>
            </a:extLst>
          </p:cNvPr>
          <p:cNvSpPr/>
          <p:nvPr/>
        </p:nvSpPr>
        <p:spPr>
          <a:xfrm>
            <a:off x="7723247" y="32077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A7CD8F5-7E9E-FA2B-CE13-7B46C02D468E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0249D29-0DAD-CDE1-D9B3-C49D6AE32D33}"/>
              </a:ext>
            </a:extLst>
          </p:cNvPr>
          <p:cNvSpPr/>
          <p:nvPr/>
        </p:nvSpPr>
        <p:spPr>
          <a:xfrm>
            <a:off x="3475097" y="2274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2956A8A-2396-3030-36CE-B9B5C2542368}"/>
              </a:ext>
            </a:extLst>
          </p:cNvPr>
          <p:cNvSpPr/>
          <p:nvPr/>
        </p:nvSpPr>
        <p:spPr>
          <a:xfrm>
            <a:off x="3475097" y="42935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FDE209A-F175-E75F-C114-EE9B37E36FEC}"/>
              </a:ext>
            </a:extLst>
          </p:cNvPr>
          <p:cNvSpPr/>
          <p:nvPr/>
        </p:nvSpPr>
        <p:spPr>
          <a:xfrm>
            <a:off x="5513447" y="5455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1151155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6</TotalTime>
  <Words>17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11</cp:revision>
  <dcterms:created xsi:type="dcterms:W3CDTF">2021-03-31T02:49:57Z</dcterms:created>
  <dcterms:modified xsi:type="dcterms:W3CDTF">2025-10-16T10:57:52Z</dcterms:modified>
  <cp:category/>
</cp:coreProperties>
</file>